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8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87" r:id="rId17"/>
    <p:sldId id="2147470233" r:id="rId18"/>
    <p:sldId id="2147470307" r:id="rId19"/>
    <p:sldId id="2147470244" r:id="rId20"/>
    <p:sldId id="2147470228" r:id="rId21"/>
    <p:sldId id="2147470227" r:id="rId22"/>
    <p:sldId id="2147470226" r:id="rId23"/>
    <p:sldId id="2147470224" r:id="rId24"/>
    <p:sldId id="2147470252" r:id="rId25"/>
    <p:sldId id="2147470237" r:id="rId26"/>
    <p:sldId id="2147374605" r:id="rId2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87"/>
            <p14:sldId id="2147470233"/>
            <p14:sldId id="2147470307"/>
            <p14:sldId id="2147470244"/>
            <p14:sldId id="2147470228"/>
            <p14:sldId id="2147470227"/>
            <p14:sldId id="2147470226"/>
            <p14:sldId id="2147470224"/>
            <p14:sldId id="2147470252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984C9B-B738-43BF-9D1F-1E396C732CE8}" v="18" dt="2025-11-07T12:14:50.3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>
        <p:scale>
          <a:sx n="100" d="100"/>
          <a:sy n="100" d="100"/>
        </p:scale>
        <p:origin x="276" y="-6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DAA91581-15BE-4EFF-B1B4-63C16D64E394}"/>
    <pc:docChg chg="undo redo custSel modSld">
      <pc:chgData name="Alexandre Zanetti de Almeida" userId="129d4ce6-e715-4d33-b4c4-312f1656225b" providerId="ADAL" clId="{DAA91581-15BE-4EFF-B1B4-63C16D64E394}" dt="2025-09-12T12:37:32.353" v="340" actId="21"/>
      <pc:docMkLst>
        <pc:docMk/>
      </pc:docMkLst>
      <pc:sldChg chg="modSp mod">
        <pc:chgData name="Alexandre Zanetti de Almeida" userId="129d4ce6-e715-4d33-b4c4-312f1656225b" providerId="ADAL" clId="{DAA91581-15BE-4EFF-B1B4-63C16D64E394}" dt="2025-09-11T09:28:34.415" v="149" actId="6549"/>
        <pc:sldMkLst>
          <pc:docMk/>
          <pc:sldMk cId="3565198220" sldId="257"/>
        </pc:sldMkLst>
      </pc:sldChg>
      <pc:sldChg chg="modSp mod">
        <pc:chgData name="Alexandre Zanetti de Almeida" userId="129d4ce6-e715-4d33-b4c4-312f1656225b" providerId="ADAL" clId="{DAA91581-15BE-4EFF-B1B4-63C16D64E394}" dt="2025-09-12T12:37:32.353" v="340" actId="21"/>
        <pc:sldMkLst>
          <pc:docMk/>
          <pc:sldMk cId="3456330198" sldId="2147470287"/>
        </pc:sldMkLst>
      </pc:sldChg>
      <pc:sldChg chg="modSp mod">
        <pc:chgData name="Alexandre Zanetti de Almeida" userId="129d4ce6-e715-4d33-b4c4-312f1656225b" providerId="ADAL" clId="{DAA91581-15BE-4EFF-B1B4-63C16D64E394}" dt="2025-09-12T11:52:23.181" v="286" actId="6549"/>
        <pc:sldMkLst>
          <pc:docMk/>
          <pc:sldMk cId="1940508740" sldId="2147470304"/>
        </pc:sldMkLst>
      </pc:sldChg>
      <pc:sldChg chg="modSp mod">
        <pc:chgData name="Alexandre Zanetti de Almeida" userId="129d4ce6-e715-4d33-b4c4-312f1656225b" providerId="ADAL" clId="{DAA91581-15BE-4EFF-B1B4-63C16D64E394}" dt="2025-09-12T11:52:32.725" v="287"/>
        <pc:sldMkLst>
          <pc:docMk/>
          <pc:sldMk cId="666269910" sldId="2147470305"/>
        </pc:sldMkLst>
      </pc:sldChg>
      <pc:sldChg chg="modSp mod">
        <pc:chgData name="Alexandre Zanetti de Almeida" userId="129d4ce6-e715-4d33-b4c4-312f1656225b" providerId="ADAL" clId="{DAA91581-15BE-4EFF-B1B4-63C16D64E394}" dt="2025-09-12T11:52:40.068" v="288"/>
        <pc:sldMkLst>
          <pc:docMk/>
          <pc:sldMk cId="2230261567" sldId="2147470306"/>
        </pc:sldMkLst>
      </pc:sldChg>
    </pc:docChg>
  </pc:docChgLst>
  <pc:docChgLst>
    <pc:chgData name="Alexandre Zanetti de Almeida" userId="129d4ce6-e715-4d33-b4c4-312f1656225b" providerId="ADAL" clId="{CB4A5929-CD66-40A2-A9E2-11FC22D64308}"/>
    <pc:docChg chg="undo custSel modSld">
      <pc:chgData name="Alexandre Zanetti de Almeida" userId="129d4ce6-e715-4d33-b4c4-312f1656225b" providerId="ADAL" clId="{CB4A5929-CD66-40A2-A9E2-11FC22D64308}" dt="2025-08-19T12:48:45.062" v="331"/>
      <pc:docMkLst>
        <pc:docMk/>
      </pc:docMkLst>
      <pc:sldChg chg="modSp mod">
        <pc:chgData name="Alexandre Zanetti de Almeida" userId="129d4ce6-e715-4d33-b4c4-312f1656225b" providerId="ADAL" clId="{CB4A5929-CD66-40A2-A9E2-11FC22D64308}" dt="2025-08-19T12:48:32.729" v="329" actId="6549"/>
        <pc:sldMkLst>
          <pc:docMk/>
          <pc:sldMk cId="1940508740" sldId="2147470304"/>
        </pc:sldMkLst>
      </pc:sldChg>
      <pc:sldChg chg="modSp">
        <pc:chgData name="Alexandre Zanetti de Almeida" userId="129d4ce6-e715-4d33-b4c4-312f1656225b" providerId="ADAL" clId="{CB4A5929-CD66-40A2-A9E2-11FC22D64308}" dt="2025-08-19T12:48:41.231" v="330"/>
        <pc:sldMkLst>
          <pc:docMk/>
          <pc:sldMk cId="666269910" sldId="2147470305"/>
        </pc:sldMkLst>
      </pc:sldChg>
      <pc:sldChg chg="modSp">
        <pc:chgData name="Alexandre Zanetti de Almeida" userId="129d4ce6-e715-4d33-b4c4-312f1656225b" providerId="ADAL" clId="{CB4A5929-CD66-40A2-A9E2-11FC22D64308}" dt="2025-08-19T12:48:45.062" v="331"/>
        <pc:sldMkLst>
          <pc:docMk/>
          <pc:sldMk cId="2230261567" sldId="2147470306"/>
        </pc:sldMkLst>
      </pc:sldChg>
    </pc:docChg>
  </pc:docChgLst>
  <pc:docChgLst>
    <pc:chgData name="Alexandre Zanetti de Almeida" userId="129d4ce6-e715-4d33-b4c4-312f1656225b" providerId="ADAL" clId="{C9FC0906-2A6D-45D2-9E77-CF45965F917E}"/>
    <pc:docChg chg="undo custSel modSld">
      <pc:chgData name="Alexandre Zanetti de Almeida" userId="129d4ce6-e715-4d33-b4c4-312f1656225b" providerId="ADAL" clId="{C9FC0906-2A6D-45D2-9E77-CF45965F917E}" dt="2025-11-07T12:14:50.349" v="484"/>
      <pc:docMkLst>
        <pc:docMk/>
      </pc:docMkLst>
      <pc:sldChg chg="modSp mod">
        <pc:chgData name="Alexandre Zanetti de Almeida" userId="129d4ce6-e715-4d33-b4c4-312f1656225b" providerId="ADAL" clId="{C9FC0906-2A6D-45D2-9E77-CF45965F917E}" dt="2025-11-05T12:09:20.666" v="380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C9FC0906-2A6D-45D2-9E77-CF45965F917E}" dt="2025-11-05T12:09:20.666" v="380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C9FC0906-2A6D-45D2-9E77-CF45965F917E}" dt="2025-11-07T12:13:55.085" v="419" actId="20577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C9FC0906-2A6D-45D2-9E77-CF45965F917E}" dt="2025-10-24T11:34:22.609" v="201" actId="6549"/>
          <ac:spMkLst>
            <pc:docMk/>
            <pc:sldMk cId="1940508740" sldId="2147470304"/>
            <ac:spMk id="12" creationId="{80EB3E3A-DC78-ABE6-879D-8B353DCFDA40}"/>
          </ac:spMkLst>
        </pc:spChg>
        <pc:spChg chg="mod">
          <ac:chgData name="Alexandre Zanetti de Almeida" userId="129d4ce6-e715-4d33-b4c4-312f1656225b" providerId="ADAL" clId="{C9FC0906-2A6D-45D2-9E77-CF45965F917E}" dt="2025-10-24T11:34:50.306" v="225" actId="20577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C9FC0906-2A6D-45D2-9E77-CF45965F917E}" dt="2025-11-07T12:13:28.105" v="412"/>
          <ac:spMkLst>
            <pc:docMk/>
            <pc:sldMk cId="1940508740" sldId="2147470304"/>
            <ac:spMk id="28" creationId="{C52088BD-E241-32F3-D401-EA5F267A951F}"/>
          </ac:spMkLst>
        </pc:spChg>
        <pc:spChg chg="mod">
          <ac:chgData name="Alexandre Zanetti de Almeida" userId="129d4ce6-e715-4d33-b4c4-312f1656225b" providerId="ADAL" clId="{C9FC0906-2A6D-45D2-9E77-CF45965F917E}" dt="2025-11-07T12:13:55.085" v="419" actId="20577"/>
          <ac:spMkLst>
            <pc:docMk/>
            <pc:sldMk cId="1940508740" sldId="2147470304"/>
            <ac:spMk id="29" creationId="{A433A465-D5E8-03C4-2424-D9AA99A3E94C}"/>
          </ac:spMkLst>
        </pc:spChg>
      </pc:sldChg>
      <pc:sldChg chg="modSp mod">
        <pc:chgData name="Alexandre Zanetti de Almeida" userId="129d4ce6-e715-4d33-b4c4-312f1656225b" providerId="ADAL" clId="{C9FC0906-2A6D-45D2-9E77-CF45965F917E}" dt="2025-11-07T12:14:35.842" v="482" actId="20577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C9FC0906-2A6D-45D2-9E77-CF45965F917E}" dt="2025-10-24T11:35:04.906" v="227" actId="404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C9FC0906-2A6D-45D2-9E77-CF45965F917E}" dt="2025-10-24T11:35:39.155" v="232" actId="6549"/>
          <ac:spMkLst>
            <pc:docMk/>
            <pc:sldMk cId="666269910" sldId="2147470305"/>
            <ac:spMk id="56" creationId="{48268944-49C7-E857-A8D6-9154D0C3A4E5}"/>
          </ac:spMkLst>
        </pc:spChg>
        <pc:spChg chg="mod">
          <ac:chgData name="Alexandre Zanetti de Almeida" userId="129d4ce6-e715-4d33-b4c4-312f1656225b" providerId="ADAL" clId="{C9FC0906-2A6D-45D2-9E77-CF45965F917E}" dt="2025-11-07T12:14:35.842" v="482" actId="20577"/>
          <ac:spMkLst>
            <pc:docMk/>
            <pc:sldMk cId="666269910" sldId="2147470305"/>
            <ac:spMk id="57" creationId="{E2E7351D-23B5-5478-0DA4-98595EEBA6B1}"/>
          </ac:spMkLst>
        </pc:spChg>
      </pc:sldChg>
      <pc:sldChg chg="modSp mod">
        <pc:chgData name="Alexandre Zanetti de Almeida" userId="129d4ce6-e715-4d33-b4c4-312f1656225b" providerId="ADAL" clId="{C9FC0906-2A6D-45D2-9E77-CF45965F917E}" dt="2025-11-07T12:14:50.349" v="484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C9FC0906-2A6D-45D2-9E77-CF45965F917E}" dt="2025-10-24T11:35:53.905" v="266" actId="20577"/>
          <ac:spMkLst>
            <pc:docMk/>
            <pc:sldMk cId="2230261567" sldId="2147470306"/>
            <ac:spMk id="13" creationId="{4D54B93D-E70C-11A6-3E95-3C2DA3641534}"/>
          </ac:spMkLst>
        </pc:spChg>
        <pc:spChg chg="mod">
          <ac:chgData name="Alexandre Zanetti de Almeida" userId="129d4ce6-e715-4d33-b4c4-312f1656225b" providerId="ADAL" clId="{C9FC0906-2A6D-45D2-9E77-CF45965F917E}" dt="2025-10-24T11:36:02.501" v="267"/>
          <ac:spMkLst>
            <pc:docMk/>
            <pc:sldMk cId="2230261567" sldId="2147470306"/>
            <ac:spMk id="15" creationId="{6C9D90A7-DE59-24DD-2095-E5827D4C1051}"/>
          </ac:spMkLst>
        </pc:spChg>
        <pc:spChg chg="mod">
          <ac:chgData name="Alexandre Zanetti de Almeida" userId="129d4ce6-e715-4d33-b4c4-312f1656225b" providerId="ADAL" clId="{C9FC0906-2A6D-45D2-9E77-CF45965F917E}" dt="2025-10-24T11:35:21.359" v="229" actId="404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C9FC0906-2A6D-45D2-9E77-CF45965F917E}" dt="2025-10-24T11:36:05.203" v="268"/>
          <ac:spMkLst>
            <pc:docMk/>
            <pc:sldMk cId="2230261567" sldId="2147470306"/>
            <ac:spMk id="56" creationId="{1ABE4715-E03E-ACCA-0C50-6C033CA1E1DD}"/>
          </ac:spMkLst>
        </pc:spChg>
        <pc:spChg chg="mod">
          <ac:chgData name="Alexandre Zanetti de Almeida" userId="129d4ce6-e715-4d33-b4c4-312f1656225b" providerId="ADAL" clId="{C9FC0906-2A6D-45D2-9E77-CF45965F917E}" dt="2025-11-07T12:14:50.349" v="484"/>
          <ac:spMkLst>
            <pc:docMk/>
            <pc:sldMk cId="2230261567" sldId="2147470306"/>
            <ac:spMk id="57" creationId="{8658D124-A563-2567-E45F-D4F10E93AC89}"/>
          </ac:spMkLst>
        </pc:spChg>
      </pc:sldChg>
    </pc:docChg>
  </pc:docChgLst>
  <pc:docChgLst>
    <pc:chgData name="Alexandre Zanetti de Almeida" userId="129d4ce6-e715-4d33-b4c4-312f1656225b" providerId="ADAL" clId="{BECA18A6-594E-4578-8AB9-5C690EC3EA32}"/>
    <pc:docChg chg="undo redo custSel addSld delSld modSld sldOrd modSection">
      <pc:chgData name="Alexandre Zanetti de Almeida" userId="129d4ce6-e715-4d33-b4c4-312f1656225b" providerId="ADAL" clId="{BECA18A6-594E-4578-8AB9-5C690EC3EA32}" dt="2025-07-24T10:57:59.141" v="2479"/>
      <pc:docMkLst>
        <pc:docMk/>
      </pc:docMkLst>
      <pc:sldChg chg="modSp mod">
        <pc:chgData name="Alexandre Zanetti de Almeida" userId="129d4ce6-e715-4d33-b4c4-312f1656225b" providerId="ADAL" clId="{BECA18A6-594E-4578-8AB9-5C690EC3EA32}" dt="2025-07-23T10:53:15.585" v="1880" actId="20577"/>
        <pc:sldMkLst>
          <pc:docMk/>
          <pc:sldMk cId="3565198220" sldId="257"/>
        </pc:sldMkLst>
      </pc:sldChg>
      <pc:sldChg chg="addSp delSp modSp mod ord delAnim modAnim">
        <pc:chgData name="Alexandre Zanetti de Almeida" userId="129d4ce6-e715-4d33-b4c4-312f1656225b" providerId="ADAL" clId="{BECA18A6-594E-4578-8AB9-5C690EC3EA32}" dt="2025-07-24T10:57:59.141" v="2479"/>
        <pc:sldMkLst>
          <pc:docMk/>
          <pc:sldMk cId="3918225123" sldId="2147470233"/>
        </pc:sldMkLst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ord">
        <pc:chgData name="Alexandre Zanetti de Almeida" userId="129d4ce6-e715-4d33-b4c4-312f1656225b" providerId="ADAL" clId="{BECA18A6-594E-4578-8AB9-5C690EC3EA32}" dt="2025-07-24T10:56:48.254" v="2476" actId="20578"/>
        <pc:sldMkLst>
          <pc:docMk/>
          <pc:sldMk cId="3456330198" sldId="2147470287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</pc:sldChg>
      <pc:sldChg chg="addSp delSp modSp add mod">
        <pc:chgData name="Alexandre Zanetti de Almeida" userId="129d4ce6-e715-4d33-b4c4-312f1656225b" providerId="ADAL" clId="{BECA18A6-594E-4578-8AB9-5C690EC3EA32}" dt="2025-07-24T10:40:27.824" v="2425"/>
        <pc:sldMkLst>
          <pc:docMk/>
          <pc:sldMk cId="1940508740" sldId="2147470304"/>
        </pc:sldMkLst>
      </pc:sldChg>
      <pc:sldChg chg="addSp delSp modSp add mod">
        <pc:chgData name="Alexandre Zanetti de Almeida" userId="129d4ce6-e715-4d33-b4c4-312f1656225b" providerId="ADAL" clId="{BECA18A6-594E-4578-8AB9-5C690EC3EA32}" dt="2025-07-23T10:53:44.633" v="1893"/>
        <pc:sldMkLst>
          <pc:docMk/>
          <pc:sldMk cId="666269910" sldId="2147470305"/>
        </pc:sldMkLst>
      </pc:sldChg>
      <pc:sldChg chg="addSp delSp modSp add mod">
        <pc:chgData name="Alexandre Zanetti de Almeida" userId="129d4ce6-e715-4d33-b4c4-312f1656225b" providerId="ADAL" clId="{BECA18A6-594E-4578-8AB9-5C690EC3EA32}" dt="2025-07-24T10:56:48.096" v="2475" actId="20577"/>
        <pc:sldMkLst>
          <pc:docMk/>
          <pc:sldMk cId="2230261567" sldId="2147470306"/>
        </pc:sldMkLst>
      </pc:sldChg>
      <pc:sldChg chg="add">
        <pc:chgData name="Alexandre Zanetti de Almeida" userId="129d4ce6-e715-4d33-b4c4-312f1656225b" providerId="ADAL" clId="{BECA18A6-594E-4578-8AB9-5C690EC3EA32}" dt="2025-07-23T10:54:01.403" v="1900" actId="2890"/>
        <pc:sldMkLst>
          <pc:docMk/>
          <pc:sldMk cId="229337627" sldId="2147470307"/>
        </pc:sldMkLst>
      </pc:sldChg>
      <pc:sldChg chg="new del ord">
        <pc:chgData name="Alexandre Zanetti de Almeida" userId="129d4ce6-e715-4d33-b4c4-312f1656225b" providerId="ADAL" clId="{BECA18A6-594E-4578-8AB9-5C690EC3EA32}" dt="2025-07-23T10:53:59.447" v="1899" actId="680"/>
        <pc:sldMkLst>
          <pc:docMk/>
          <pc:sldMk cId="469112513" sldId="2147470307"/>
        </pc:sldMkLst>
      </pc:sldChg>
    </pc:docChg>
  </pc:docChgLst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72D30366-B7DE-47DF-B27F-990419579B41}"/>
    <pc:docChg chg="custSel modSld">
      <pc:chgData name="Alexandre Zanetti de Almeida" userId="129d4ce6-e715-4d33-b4c4-312f1656225b" providerId="ADAL" clId="{72D30366-B7DE-47DF-B27F-990419579B41}" dt="2025-08-13T12:03:21.234" v="35" actId="6549"/>
      <pc:docMkLst>
        <pc:docMk/>
      </pc:docMkLst>
      <pc:sldChg chg="modSp mod">
        <pc:chgData name="Alexandre Zanetti de Almeida" userId="129d4ce6-e715-4d33-b4c4-312f1656225b" providerId="ADAL" clId="{72D30366-B7DE-47DF-B27F-990419579B41}" dt="2025-08-13T12:02:07.543" v="13" actId="5793"/>
        <pc:sldMkLst>
          <pc:docMk/>
          <pc:sldMk cId="3565198220" sldId="257"/>
        </pc:sldMkLst>
      </pc:sldChg>
      <pc:sldChg chg="modSp mod">
        <pc:chgData name="Alexandre Zanetti de Almeida" userId="129d4ce6-e715-4d33-b4c4-312f1656225b" providerId="ADAL" clId="{72D30366-B7DE-47DF-B27F-990419579B41}" dt="2025-08-13T12:02:25.482" v="27" actId="108"/>
        <pc:sldMkLst>
          <pc:docMk/>
          <pc:sldMk cId="1940508740" sldId="2147470304"/>
        </pc:sldMkLst>
      </pc:sldChg>
      <pc:sldChg chg="modSp mod">
        <pc:chgData name="Alexandre Zanetti de Almeida" userId="129d4ce6-e715-4d33-b4c4-312f1656225b" providerId="ADAL" clId="{72D30366-B7DE-47DF-B27F-990419579B41}" dt="2025-08-13T12:02:43.185" v="31" actId="6549"/>
        <pc:sldMkLst>
          <pc:docMk/>
          <pc:sldMk cId="666269910" sldId="2147470305"/>
        </pc:sldMkLst>
      </pc:sldChg>
      <pc:sldChg chg="modSp mod">
        <pc:chgData name="Alexandre Zanetti de Almeida" userId="129d4ce6-e715-4d33-b4c4-312f1656225b" providerId="ADAL" clId="{72D30366-B7DE-47DF-B27F-990419579B41}" dt="2025-08-13T12:03:21.234" v="35" actId="6549"/>
        <pc:sldMkLst>
          <pc:docMk/>
          <pc:sldMk cId="2230261567" sldId="214747030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07/11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9775283" TargetMode="External"/><Relationship Id="rId13" Type="http://schemas.openxmlformats.org/officeDocument/2006/relationships/hyperlink" Target="https://reports.rchland.ibm.com/cgi-bin/sf?TS019373888" TargetMode="External"/><Relationship Id="rId18" Type="http://schemas.openxmlformats.org/officeDocument/2006/relationships/hyperlink" Target="https://reports.rchland.ibm.com/cgi-bin/sf?TS018634572" TargetMode="External"/><Relationship Id="rId3" Type="http://schemas.openxmlformats.org/officeDocument/2006/relationships/hyperlink" Target="https://reports.rchland.ibm.com/cgi-bin/sf?TS020175358" TargetMode="External"/><Relationship Id="rId21" Type="http://schemas.openxmlformats.org/officeDocument/2006/relationships/hyperlink" Target="https://smartcare.rchland.ibm.com/Dashboard/html/reports/detailedReport.html?reportType=SFC&amp;index=344&amp;division=All&amp;brand=All&amp;geo=All&amp;cc=All&amp;problem_type=Software&amp;case_status=All&amp;status=All" TargetMode="External"/><Relationship Id="rId7" Type="http://schemas.openxmlformats.org/officeDocument/2006/relationships/hyperlink" Target="https://reports.rchland.ibm.com/cgi-bin/sf?TS019775919" TargetMode="External"/><Relationship Id="rId12" Type="http://schemas.openxmlformats.org/officeDocument/2006/relationships/hyperlink" Target="https://reports.rchland.ibm.com/cgi-bin/sf?TS019378042" TargetMode="External"/><Relationship Id="rId17" Type="http://schemas.openxmlformats.org/officeDocument/2006/relationships/hyperlink" Target="https://reports.rchland.ibm.com/cgi-bin/sf?TS018895482" TargetMode="External"/><Relationship Id="rId2" Type="http://schemas.openxmlformats.org/officeDocument/2006/relationships/image" Target="../media/image1.png"/><Relationship Id="rId16" Type="http://schemas.openxmlformats.org/officeDocument/2006/relationships/hyperlink" Target="https://reports.rchland.ibm.com/cgi-bin/sf?TS018898555" TargetMode="External"/><Relationship Id="rId20" Type="http://schemas.openxmlformats.org/officeDocument/2006/relationships/hyperlink" Target="https://reports.rchland.ibm.com/cgi-bin/sf?TS018220590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9910892" TargetMode="External"/><Relationship Id="rId11" Type="http://schemas.openxmlformats.org/officeDocument/2006/relationships/hyperlink" Target="https://reports.rchland.ibm.com/cgi-bin/sf?TS019552684" TargetMode="External"/><Relationship Id="rId5" Type="http://schemas.openxmlformats.org/officeDocument/2006/relationships/hyperlink" Target="https://reports.rchland.ibm.com/cgi-bin/sf?TS020005697" TargetMode="External"/><Relationship Id="rId15" Type="http://schemas.openxmlformats.org/officeDocument/2006/relationships/hyperlink" Target="https://reports.rchland.ibm.com/cgi-bin/sf?TS019032254" TargetMode="External"/><Relationship Id="rId10" Type="http://schemas.openxmlformats.org/officeDocument/2006/relationships/hyperlink" Target="https://reports.rchland.ibm.com/cgi-bin/sf?TS019707424" TargetMode="External"/><Relationship Id="rId19" Type="http://schemas.openxmlformats.org/officeDocument/2006/relationships/hyperlink" Target="https://reports.rchland.ibm.com/cgi-bin/sf?TS018425621" TargetMode="External"/><Relationship Id="rId4" Type="http://schemas.openxmlformats.org/officeDocument/2006/relationships/hyperlink" Target="https://reports.rchland.ibm.com/cgi-bin/sf?TS020016263" TargetMode="External"/><Relationship Id="rId9" Type="http://schemas.openxmlformats.org/officeDocument/2006/relationships/hyperlink" Target="https://reports.rchland.ibm.com/cgi-bin/sf?TS019742497" TargetMode="External"/><Relationship Id="rId14" Type="http://schemas.openxmlformats.org/officeDocument/2006/relationships/hyperlink" Target="https://reports.rchland.ibm.com/cgi-bin/sf?TS019363555" TargetMode="External"/><Relationship Id="rId22" Type="http://schemas.openxmlformats.org/officeDocument/2006/relationships/hyperlink" Target="https://w3.ibm.com/tools/caseviewer/listcases?type=accounts&amp;id=0015000001OVOGXAA5&amp;name=ITAU%20UNIBANCO%20S.A.&amp;ICN=0053000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6.png"/><Relationship Id="rId3" Type="http://schemas.openxmlformats.org/officeDocument/2006/relationships/image" Target="../media/image28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5.png"/><Relationship Id="rId2" Type="http://schemas.openxmlformats.org/officeDocument/2006/relationships/image" Target="../media/image27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4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3.png"/><Relationship Id="rId4" Type="http://schemas.openxmlformats.org/officeDocument/2006/relationships/hyperlink" Target="https://www.ibm.com/support/pages/lifecycle/search?q=ibm%20mq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5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8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ideas.ibm.com/ideas/MESNS-I-645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521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4 05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Novembr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700" dirty="0">
                <a:solidFill>
                  <a:schemeClr val="tx1"/>
                </a:solidFill>
              </a:rPr>
              <a:t>11/03/2025, </a:t>
            </a:r>
            <a:r>
              <a:rPr lang="pt-BR" sz="700" dirty="0">
                <a:solidFill>
                  <a:schemeClr val="tx1"/>
                </a:solidFill>
              </a:rPr>
              <a:t>09/04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21/05/2025, 16/06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2/07/2025, 23/07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13/08/2025, 27/08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3/09/2025, 10/09/2025,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2/10/2025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05/11 – Reunião com Damiani sobre Eventos e plano 202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, </a:t>
            </a:r>
            <a:r>
              <a:rPr lang="pt-BR" sz="800" dirty="0">
                <a:solidFill>
                  <a:schemeClr val="tx1"/>
                </a:solidFill>
              </a:rPr>
              <a:t>09/04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1/05/2025, 16/06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, 23/07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8/2025, 27/08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3/09/2025, 10/09/2025,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2/10/2025</a:t>
            </a:r>
          </a:p>
          <a:p>
            <a:pPr marL="0" lvl="2" algn="ctr"/>
            <a:endParaRPr lang="pt-BR" sz="105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ando agenda para iniciar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1147013"/>
              </p:ext>
            </p:extLst>
          </p:nvPr>
        </p:nvGraphicFramePr>
        <p:xfrm>
          <a:off x="271572" y="979164"/>
          <a:ext cx="10153650" cy="37738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2017535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ME Nee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5446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200162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BM is working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999759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2000569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iting for IBM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3632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99108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06403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77591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41937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97752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106733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974249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94561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9707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597398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955268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538484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937804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70056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93738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61331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9363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159673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829888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740760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396594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03109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820971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822059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84628210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- </a:t>
            </a:r>
            <a:r>
              <a:rPr lang="en-US" sz="40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taú</a:t>
            </a:r>
            <a:r>
              <a:rPr lang="en-US" sz="40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3000)</a:t>
            </a: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38240-91FB-7AF4-F9C0-CD69A859E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F9EBC2-F1B7-B4DB-EBE2-1011D1E70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93975-CB02-AE6F-C1E0-0579A2D07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CEAF40-FBCE-78D2-2B72-2CD4DF0CA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FA16E-76FF-DCF0-5F29-9A0716AE1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EE3443B3-8146-56B9-7464-DACB6B1FC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06668-E22E-1CA6-9FDA-1F2D6722D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1F507B-DF78-9C3D-2CB9-2841BFA4E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9C61B-8C2F-A007-FF32-59E06D5C20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0C61E6-3B9B-F878-C732-6E9F00CD6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A647C99-AC79-FF8F-AD87-ADED3859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2B8BFF-9797-E153-6FCB-05811AAF91A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7A738-661B-76F4-98D3-92E75A59F30B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F67D07C-2612-280B-2770-132F6ECA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3F29B-B1B5-8B04-1E3C-F0D776D1EB4F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AC44EF-8808-9CAA-DFF2-C01BBC7BCC05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F7D47A7-5CED-4BA5-2CF7-25F87B3EE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2A1A97-648C-052C-E2C3-4BF4920E755E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0F8F408-6F90-13C7-4F2E-E7E02EEA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67BC115-3D9E-B251-BA13-16E0C695823D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E10A7D-3B33-7B5E-CBDE-F00874E34C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C8EFC6-F954-FCA5-9587-21554E8A0B1D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33" name="logo2-04.png" descr="logo2-04.png">
            <a:extLst>
              <a:ext uri="{FF2B5EF4-FFF2-40B4-BE49-F238E27FC236}">
                <a16:creationId xmlns:a16="http://schemas.microsoft.com/office/drawing/2014/main" id="{C4992519-0D15-A13F-7BB8-18C4ADFA51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683BEF-64CC-3BD6-6511-E153B3802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DB74849-7C7B-E14F-A4A8-658510257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D9E17B-3F4B-6E33-9E3E-0D52E9ED9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154AF4-FB68-D910-748B-4AAFDBC54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4D9459-3C64-F46D-D442-9EC3A172B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22587-0735-F20E-9E94-5DB1197B9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F81FE24-D273-5ECF-61FB-1EFEA6664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53B8F9-F138-D4FB-C7E3-37FF65BDC90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58E8B5-CFCC-6597-A539-559E5C0D7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5F192A-2F9C-28F0-9478-CD4A895DAF60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20ED8-71A4-1B17-EBA5-76D775E84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92085FB-ACB2-FF32-673A-F303C2F8289E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F9AD1-3719-868E-B463-135BAD2EB1F4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3F5670-FBC3-1C77-B4AD-704C3598A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2BF1AE-7E18-3FE6-25CB-79DD65C81B3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22DD14-3C61-B704-E862-79A687BD61D1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EFD9DF-8F2E-4F55-0200-0AA948776EA1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D8CDA5AE-23C6-61AA-1B4F-0853A1FBC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DC082A-9D2F-DF2A-7662-A6F10B0F5B8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15BB23-E682-C5AB-6ABC-81796504370C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098B102-8B48-FA82-16D2-1A4528575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5B17CB-D9AC-8DC6-437F-31C584205A79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E937DC-DB98-5C9B-6C6B-FB40F05212DE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A30EFA1-6EAB-BC22-8582-A414C80365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8FAD2341-3A70-9616-6BCC-E06B3DE6C37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0267AA-2CAA-D304-51EC-4B2D366AB59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4AE9FF7E-B32D-A1A4-BBF8-50CC6418C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0685BC1-49D0-0A1F-7A2C-32349E365586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AA1A2BDA-914A-3AC7-2038-001204B6E7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AC36F529-343A-ACFE-7FE3-ED0DB3D26523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1B0A244-340D-154C-51A0-DECC08B98AD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1CD54BE-F4AF-9EA8-85E1-75D01610752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F664094-C2CB-2355-15E1-24FFA1C7407C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E4FB085-DEE3-8B5E-6431-4F3B5C32AFCE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E1E7A4-9103-384A-9BF8-29810D3F2F9D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963B97-80D6-2830-54EB-54C4B4A54ED1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59D74B-69C9-EC77-59F8-3BA9E0349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22714C-F298-2BC1-7D21-8AC0D3BDD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2A582C7-7ECC-2FA7-A453-30C04646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C7BE3F6-A14D-FC21-2985-87FD3505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8261F5-0365-C072-C138-FECC58D12E31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D29278-E036-693C-21DB-BDC058595346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2D136AB7-93D8-E1E5-9104-B4403507BA1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ceção suporte Windows 2026  19/09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EC chamado TS020475226  07/10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700" dirty="0">
                <a:solidFill>
                  <a:schemeClr val="tx1"/>
                </a:solidFill>
              </a:rPr>
              <a:t>11/03/2025, </a:t>
            </a:r>
            <a:r>
              <a:rPr lang="pt-BR" sz="700" dirty="0">
                <a:solidFill>
                  <a:schemeClr val="tx1"/>
                </a:solidFill>
              </a:rPr>
              <a:t>09/04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21/05/2025, 16/06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2/07/2025, 23/07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13/08/2025, 27/08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3/09/2025, 10/09/2025,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2/10/2025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3/07 – Plano de ação (c/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 para coletar traces outra rotina diári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31=&gt;2025 (63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  <a:hlinkClick r:id="rId2"/>
                </a:rPr>
                <a:t>IDEA:MESNS-I-645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support for AWS Graviton (ARM64)“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úvidas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obre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MQ 9.3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ado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o Windows Server 2016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32=&gt;2025 (6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  <a:hlinkClick r:id="rId2"/>
                </a:rPr>
                <a:t>IDEA:MESNS-I-645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support for AWS Graviton (ARM64)“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úvidas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obre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MQ 9.3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ado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o Windows Server 2016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Suporte para usar EXITS (COA/COD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Pedido para IBM sobre melhoria no atendimento dos chama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40=&gt;2025 (68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  <a:hlinkClick r:id="rId2"/>
                </a:rPr>
                <a:t>IDEA:MESNS-I-645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support for AWS Graviton (ARM64)“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Suporte para usar EXITS (COA/COD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Pedido para IBM sobre melhoria no atendimento dos chama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65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35</TotalTime>
  <Words>2882</Words>
  <Application>Microsoft Office PowerPoint</Application>
  <PresentationFormat>Widescreen</PresentationFormat>
  <Paragraphs>726</Paragraphs>
  <Slides>23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11-07T12:14:54Z</dcterms:modified>
</cp:coreProperties>
</file>